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38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9135A7-FB27-4D5C-AEC8-C7D7D4988D8A}" type="datetimeFigureOut">
              <a:rPr lang="zh-CN" altLang="en-US" smtClean="0"/>
              <a:t>2025/9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2E345F-49BD-4658-A07A-844D01E5F2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583337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2BBC56-034C-6E8B-3614-C38CCD0516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35FC56-2BCA-8B50-A127-A5AD962118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BC4078-3AC7-81D2-19F4-4F01C27715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B2D452-B5DE-BFEF-E690-00209A45A0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7111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40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15106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378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94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828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791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195658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00AC6C38-E9C6-D61B-B7DA-448D906AFA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987EDDFC-09BE-42A0-1B4C-278AB8A9B2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410" imgH="409" progId="TCLayout.ActiveDocument.1">
                  <p:embed/>
                </p:oleObj>
              </mc:Choice>
              <mc:Fallback>
                <p:oleObj name="think-cell 幻灯片" r:id="rId5" imgW="410" imgH="409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7EDDFC-09BE-42A0-1B4C-278AB8A9B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4">
            <a:extLst>
              <a:ext uri="{FF2B5EF4-FFF2-40B4-BE49-F238E27FC236}">
                <a16:creationId xmlns:a16="http://schemas.microsoft.com/office/drawing/2014/main" id="{45FCED4D-77B0-1E49-11B0-E9D7529B63B0}"/>
              </a:ext>
            </a:extLst>
          </p:cNvPr>
          <p:cNvSpPr txBox="1">
            <a:spLocks/>
          </p:cNvSpPr>
          <p:nvPr/>
        </p:nvSpPr>
        <p:spPr>
          <a:xfrm>
            <a:off x="703223" y="1557336"/>
            <a:ext cx="5558645" cy="2134381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Arial"/>
                <a:ea typeface="理想品牌字体 2022"/>
                <a:cs typeface="+mn-cs"/>
                <a:sym typeface="Futura"/>
              </a:rPr>
              <a:t>{bullet_1_description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content}</a:t>
            </a:r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ACA888F1-2E16-C0B7-0D47-7174F8FD7791}"/>
              </a:ext>
            </a:extLst>
          </p:cNvPr>
          <p:cNvSpPr txBox="1">
            <a:spLocks/>
          </p:cNvSpPr>
          <p:nvPr/>
        </p:nvSpPr>
        <p:spPr>
          <a:xfrm>
            <a:off x="6261830" y="1557336"/>
            <a:ext cx="5558645" cy="2134381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0" rtlCol="0" anchor="t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1A7449"/>
                </a:solidFill>
                <a:sym typeface="Futura"/>
              </a:rPr>
              <a:t>{bullet_2}</a:t>
            </a:r>
          </a:p>
          <a:p>
            <a:pPr lvl="0"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altLang="zh-CN" sz="1100" b="1" dirty="0">
                <a:solidFill>
                  <a:srgbClr val="03522D"/>
                </a:solidFill>
                <a:latin typeface="Arial"/>
                <a:sym typeface="Futura"/>
              </a:rPr>
              <a:t>{bullet_2_description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100" dirty="0">
                <a:solidFill>
                  <a:srgbClr val="000000"/>
                </a:solidFill>
                <a:sym typeface="Futura"/>
              </a:rPr>
              <a:t>{bullet_2_content}</a:t>
            </a:r>
          </a:p>
        </p:txBody>
      </p:sp>
      <p:sp>
        <p:nvSpPr>
          <p:cNvPr id="24" name="TextBox 24">
            <a:extLst>
              <a:ext uri="{FF2B5EF4-FFF2-40B4-BE49-F238E27FC236}">
                <a16:creationId xmlns:a16="http://schemas.microsoft.com/office/drawing/2014/main" id="{D28FEDDD-5AD1-F68C-DF63-69EA7FE933D1}"/>
              </a:ext>
            </a:extLst>
          </p:cNvPr>
          <p:cNvSpPr txBox="1">
            <a:spLocks/>
          </p:cNvSpPr>
          <p:nvPr/>
        </p:nvSpPr>
        <p:spPr>
          <a:xfrm>
            <a:off x="703223" y="3691721"/>
            <a:ext cx="5558645" cy="2134381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0" rtlCol="0" anchor="t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1A7449"/>
                </a:solidFill>
                <a:sym typeface="Futura"/>
              </a:rPr>
              <a:t>{bullet_3}</a:t>
            </a:r>
          </a:p>
          <a:p>
            <a:pPr lvl="0"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altLang="zh-CN" sz="1100" b="1" dirty="0">
                <a:solidFill>
                  <a:srgbClr val="03522D"/>
                </a:solidFill>
                <a:latin typeface="Arial"/>
                <a:sym typeface="Futura"/>
              </a:rPr>
              <a:t>{bullet_3_description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100" dirty="0">
                <a:solidFill>
                  <a:srgbClr val="000000"/>
                </a:solidFill>
                <a:sym typeface="Futura"/>
              </a:rPr>
              <a:t>{bullet_3_content}</a:t>
            </a:r>
          </a:p>
        </p:txBody>
      </p:sp>
      <p:sp>
        <p:nvSpPr>
          <p:cNvPr id="29" name="TextBox 24">
            <a:extLst>
              <a:ext uri="{FF2B5EF4-FFF2-40B4-BE49-F238E27FC236}">
                <a16:creationId xmlns:a16="http://schemas.microsoft.com/office/drawing/2014/main" id="{AAEC75BB-2B64-0425-EC3E-3768987C5458}"/>
              </a:ext>
            </a:extLst>
          </p:cNvPr>
          <p:cNvSpPr txBox="1">
            <a:spLocks/>
          </p:cNvSpPr>
          <p:nvPr/>
        </p:nvSpPr>
        <p:spPr>
          <a:xfrm>
            <a:off x="6261830" y="3691721"/>
            <a:ext cx="5558645" cy="2134381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0" rtlCol="0" anchor="t">
            <a:no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1A7449"/>
                </a:solidFill>
                <a:sym typeface="Futura"/>
              </a:rPr>
              <a:t>{bullet_4}</a:t>
            </a:r>
          </a:p>
          <a:p>
            <a:pPr lvl="0"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altLang="zh-CN" sz="1100" b="1" dirty="0">
                <a:solidFill>
                  <a:srgbClr val="03522D"/>
                </a:solidFill>
                <a:latin typeface="Arial"/>
                <a:sym typeface="Futura"/>
              </a:rPr>
              <a:t>{bullet_4_description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100" dirty="0">
                <a:solidFill>
                  <a:srgbClr val="000000"/>
                </a:solidFill>
                <a:sym typeface="Futura"/>
              </a:rPr>
              <a:t>{bullet_4_content}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DBEA687-C41C-493A-18AE-3BB77C09B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 wrap="square" anchor="t">
            <a:spAutoFit/>
          </a:bodyPr>
          <a:lstStyle/>
          <a:p>
            <a:r>
              <a:rPr lang="en-US" dirty="0"/>
              <a:t>{title}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3195C395-8CF4-6CF7-63A5-36AFBCCCE03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97357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trices, table, tables, markets, think-cell</a:t>
            </a:r>
          </a:p>
        </p:txBody>
      </p:sp>
      <p:cxnSp>
        <p:nvCxnSpPr>
          <p:cNvPr id="10" name="Conector recto 8">
            <a:extLst>
              <a:ext uri="{FF2B5EF4-FFF2-40B4-BE49-F238E27FC236}">
                <a16:creationId xmlns:a16="http://schemas.microsoft.com/office/drawing/2014/main" id="{DC22B7CD-A805-E607-82EE-30632BDE4841}"/>
              </a:ext>
            </a:extLst>
          </p:cNvPr>
          <p:cNvCxnSpPr>
            <a:cxnSpLocks/>
          </p:cNvCxnSpPr>
          <p:nvPr/>
        </p:nvCxnSpPr>
        <p:spPr>
          <a:xfrm flipV="1">
            <a:off x="500027" y="1907708"/>
            <a:ext cx="0" cy="3568029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3" name="TextBox 25">
            <a:extLst>
              <a:ext uri="{FF2B5EF4-FFF2-40B4-BE49-F238E27FC236}">
                <a16:creationId xmlns:a16="http://schemas.microsoft.com/office/drawing/2014/main" id="{1CB1BC16-ADC8-3D08-C44B-BA55916EF1D2}"/>
              </a:ext>
            </a:extLst>
          </p:cNvPr>
          <p:cNvSpPr txBox="1">
            <a:spLocks/>
          </p:cNvSpPr>
          <p:nvPr/>
        </p:nvSpPr>
        <p:spPr>
          <a:xfrm rot="16200000">
            <a:off x="324840" y="1640191"/>
            <a:ext cx="35037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高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90014910-2816-10B0-7BCA-9EACE358FCD0}"/>
              </a:ext>
            </a:extLst>
          </p:cNvPr>
          <p:cNvSpPr txBox="1">
            <a:spLocks/>
          </p:cNvSpPr>
          <p:nvPr/>
        </p:nvSpPr>
        <p:spPr>
          <a:xfrm rot="16200000">
            <a:off x="324840" y="5558884"/>
            <a:ext cx="350370" cy="1840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低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8" name="TextBox 25">
            <a:extLst>
              <a:ext uri="{FF2B5EF4-FFF2-40B4-BE49-F238E27FC236}">
                <a16:creationId xmlns:a16="http://schemas.microsoft.com/office/drawing/2014/main" id="{CE75AA24-94B5-BBDF-3D04-7356736B5C8D}"/>
              </a:ext>
            </a:extLst>
          </p:cNvPr>
          <p:cNvSpPr txBox="1">
            <a:spLocks/>
          </p:cNvSpPr>
          <p:nvPr/>
        </p:nvSpPr>
        <p:spPr>
          <a:xfrm rot="16200000">
            <a:off x="-51356" y="3599685"/>
            <a:ext cx="1102761" cy="1840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{feature_2}</a:t>
            </a:r>
          </a:p>
        </p:txBody>
      </p:sp>
      <p:cxnSp>
        <p:nvCxnSpPr>
          <p:cNvPr id="19" name="Conector recto 13">
            <a:extLst>
              <a:ext uri="{FF2B5EF4-FFF2-40B4-BE49-F238E27FC236}">
                <a16:creationId xmlns:a16="http://schemas.microsoft.com/office/drawing/2014/main" id="{33D345DB-BE0E-FA74-1262-EB69523E24D0}"/>
              </a:ext>
            </a:extLst>
          </p:cNvPr>
          <p:cNvCxnSpPr>
            <a:cxnSpLocks/>
          </p:cNvCxnSpPr>
          <p:nvPr/>
        </p:nvCxnSpPr>
        <p:spPr>
          <a:xfrm>
            <a:off x="6261874" y="1557337"/>
            <a:ext cx="0" cy="426877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4">
            <a:extLst>
              <a:ext uri="{FF2B5EF4-FFF2-40B4-BE49-F238E27FC236}">
                <a16:creationId xmlns:a16="http://schemas.microsoft.com/office/drawing/2014/main" id="{4243917D-6468-510C-87B1-4B56F235331D}"/>
              </a:ext>
            </a:extLst>
          </p:cNvPr>
          <p:cNvCxnSpPr>
            <a:cxnSpLocks/>
          </p:cNvCxnSpPr>
          <p:nvPr/>
        </p:nvCxnSpPr>
        <p:spPr>
          <a:xfrm flipH="1">
            <a:off x="703223" y="3691722"/>
            <a:ext cx="11117301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15">
            <a:extLst>
              <a:ext uri="{FF2B5EF4-FFF2-40B4-BE49-F238E27FC236}">
                <a16:creationId xmlns:a16="http://schemas.microsoft.com/office/drawing/2014/main" id="{5219428E-BBF6-EF29-FA13-6439E2A6907E}"/>
              </a:ext>
            </a:extLst>
          </p:cNvPr>
          <p:cNvCxnSpPr>
            <a:cxnSpLocks/>
          </p:cNvCxnSpPr>
          <p:nvPr/>
        </p:nvCxnSpPr>
        <p:spPr>
          <a:xfrm>
            <a:off x="1075775" y="5976123"/>
            <a:ext cx="10352305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0" name="TextBox 25">
            <a:extLst>
              <a:ext uri="{FF2B5EF4-FFF2-40B4-BE49-F238E27FC236}">
                <a16:creationId xmlns:a16="http://schemas.microsoft.com/office/drawing/2014/main" id="{594CB43F-8044-EEFE-8E09-51F4C4554CE7}"/>
              </a:ext>
            </a:extLst>
          </p:cNvPr>
          <p:cNvSpPr txBox="1">
            <a:spLocks/>
          </p:cNvSpPr>
          <p:nvPr/>
        </p:nvSpPr>
        <p:spPr>
          <a:xfrm>
            <a:off x="703223" y="5883790"/>
            <a:ext cx="372551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>
                <a:solidFill>
                  <a:srgbClr val="000000"/>
                </a:solidFill>
                <a:latin typeface="理想品牌字体 2022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低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1" name="TextBox 25">
            <a:extLst>
              <a:ext uri="{FF2B5EF4-FFF2-40B4-BE49-F238E27FC236}">
                <a16:creationId xmlns:a16="http://schemas.microsoft.com/office/drawing/2014/main" id="{F5C5D2E0-15B0-61F4-842E-E4EE20ECC01A}"/>
              </a:ext>
            </a:extLst>
          </p:cNvPr>
          <p:cNvSpPr txBox="1">
            <a:spLocks/>
          </p:cNvSpPr>
          <p:nvPr/>
        </p:nvSpPr>
        <p:spPr>
          <a:xfrm>
            <a:off x="11428080" y="5883790"/>
            <a:ext cx="39244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高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3" name="TextBox 25">
            <a:extLst>
              <a:ext uri="{FF2B5EF4-FFF2-40B4-BE49-F238E27FC236}">
                <a16:creationId xmlns:a16="http://schemas.microsoft.com/office/drawing/2014/main" id="{9DA18600-709D-60ED-AD60-689C091CB3AE}"/>
              </a:ext>
            </a:extLst>
          </p:cNvPr>
          <p:cNvSpPr txBox="1">
            <a:spLocks/>
          </p:cNvSpPr>
          <p:nvPr/>
        </p:nvSpPr>
        <p:spPr>
          <a:xfrm>
            <a:off x="5653942" y="5883790"/>
            <a:ext cx="1166081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{feature_1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80513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04</Words>
  <Application>Microsoft Office PowerPoint</Application>
  <PresentationFormat>宽屏</PresentationFormat>
  <Paragraphs>2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5T05:50:23Z</dcterms:created>
  <dcterms:modified xsi:type="dcterms:W3CDTF">2025-09-05T05:52:57Z</dcterms:modified>
</cp:coreProperties>
</file>